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353908"/>
              </p:ext>
            </p:extLst>
          </p:nvPr>
        </p:nvGraphicFramePr>
        <p:xfrm>
          <a:off x="539750" y="1131428"/>
          <a:ext cx="11064875" cy="4684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:a16="http://schemas.microsoft.com/office/drawing/2014/main" xmlns="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667617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1333618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  <a:gridCol w="1084809">
                  <a:extLst>
                    <a:ext uri="{9D8B030D-6E8A-4147-A177-3AD203B41FA5}">
                      <a16:colId xmlns:a16="http://schemas.microsoft.com/office/drawing/2014/main" xmlns="" val="1887439424"/>
                    </a:ext>
                  </a:extLst>
                </a:gridCol>
                <a:gridCol w="1232630">
                  <a:extLst>
                    <a:ext uri="{9D8B030D-6E8A-4147-A177-3AD203B41FA5}">
                      <a16:colId xmlns:a16="http://schemas.microsoft.com/office/drawing/2014/main" xmlns="" val="2633607910"/>
                    </a:ext>
                  </a:extLst>
                </a:gridCol>
                <a:gridCol w="128127">
                  <a:extLst>
                    <a:ext uri="{9D8B030D-6E8A-4147-A177-3AD203B41FA5}">
                      <a16:colId xmlns:a16="http://schemas.microsoft.com/office/drawing/2014/main" xmlns="" val="127337333"/>
                    </a:ext>
                  </a:extLst>
                </a:gridCol>
                <a:gridCol w="1211260">
                  <a:extLst>
                    <a:ext uri="{9D8B030D-6E8A-4147-A177-3AD203B41FA5}">
                      <a16:colId xmlns:a16="http://schemas.microsoft.com/office/drawing/2014/main" xmlns="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7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  <a:endParaRPr lang="zh-CN" altLang="en-US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是</a:t>
                      </a:r>
                      <a:r>
                        <a:rPr lang="en-US" altLang="zh-CN" sz="11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100" dirty="0" smtClean="0">
                          <a:solidFill>
                            <a:schemeClr val="tx1"/>
                          </a:solidFill>
                        </a:rPr>
                        <a:t>否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40899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11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7677086"/>
              </p:ext>
            </p:extLst>
          </p:nvPr>
        </p:nvGraphicFramePr>
        <p:xfrm>
          <a:off x="539750" y="1254424"/>
          <a:ext cx="11079996" cy="5192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00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1231"/>
                <a:gridCol w="13925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9628"/>
                <a:gridCol w="1710206"/>
                <a:gridCol w="1502775"/>
                <a:gridCol w="1065555"/>
                <a:gridCol w="1577971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P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号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是否车主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试</a:t>
                      </a: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768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开始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百度关键词及线上线索获取提供任意一日网页截屏）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结束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百度关键词及线上线索获取提供任意一日网页截屏</a:t>
              </a: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1</TotalTime>
  <Words>360</Words>
  <Application>Microsoft Office PowerPoint</Application>
  <PresentationFormat>自定义</PresentationFormat>
  <Paragraphs>107</Paragraphs>
  <Slides>5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8" baseType="lpstr">
      <vt:lpstr>3_Office Theme</vt:lpstr>
      <vt:lpstr>4_Office Theme</vt:lpstr>
      <vt:lpstr>think-cell Slide</vt:lpstr>
      <vt:lpstr>Overview 概述</vt:lpstr>
      <vt:lpstr>Event Budget 费用总览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4</cp:revision>
  <dcterms:created xsi:type="dcterms:W3CDTF">2022-02-15T07:41:51Z</dcterms:created>
  <dcterms:modified xsi:type="dcterms:W3CDTF">2022-04-09T07:46:40Z</dcterms:modified>
</cp:coreProperties>
</file>